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909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noProof="1"/>
              <a:t>Verbessern Sie die Flexibilität des Flaschenprozesse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91418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Quarzstangen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fr-FR" sz="800" kern="0" dirty="0">
                <a:solidFill>
                  <a:srgbClr val="000000"/>
                </a:solidFill>
              </a:rPr>
              <a:t>Universal </a:t>
            </a:r>
            <a:r>
              <a:rPr lang="en-GB" altLang="fr-FR" sz="800" dirty="0">
                <a:solidFill>
                  <a:srgbClr val="000000"/>
                </a:solidFill>
              </a:rPr>
              <a:t>- </a:t>
            </a:r>
            <a:r>
              <a:rPr lang="en-GB" altLang="fr-FR" sz="800" dirty="0" err="1">
                <a:solidFill>
                  <a:srgbClr val="000000"/>
                </a:solidFill>
              </a:rPr>
              <a:t>Blasmaschinen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101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9C7DC8-D382-45DA-8045-8C3BF4101B8D}"/>
              </a:ext>
            </a:extLst>
          </p:cNvPr>
          <p:cNvSpPr/>
          <p:nvPr/>
        </p:nvSpPr>
        <p:spPr>
          <a:xfrm>
            <a:off x="4760867" y="2160646"/>
            <a:ext cx="38634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Installation eines Quarzstabs zwischen der Heizlampe und dem Vorformling, um die IR-Strahlung zu konzentrieren / zu fokussieren.</a:t>
            </a:r>
          </a:p>
          <a:p>
            <a:endParaRPr lang="de-DE" sz="11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233613"/>
            <a:ext cx="39624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Tragen Sie zur Lösung von Heizproblemen bei, insbesondere am Vorformling unter dem Halsbereich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Nur für die erste Zon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Empfohlen, um die Produktion von </a:t>
            </a:r>
            <a:r>
              <a:rPr lang="de-DE" altLang="fr-FR" sz="1200" dirty="0" err="1"/>
              <a:t>rPET</a:t>
            </a:r>
            <a:r>
              <a:rPr lang="de-DE" altLang="fr-FR" sz="1200" dirty="0"/>
              <a:t>-Flaschen zu sichern für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Flaschenhalsschutz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Prozess Robustheit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Gewährleistung einer optimalen Materialverteilung</a:t>
            </a:r>
            <a:endParaRPr lang="en-GB" altLang="fr-FR" sz="1200" b="1" dirty="0"/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781B49DE-9438-41BC-8866-A0388F1E5B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13</TotalTime>
  <Words>80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1_NewSidel_Template_4x3_with add layouts</vt:lpstr>
      <vt:lpstr>think-cell Folie</vt:lpstr>
      <vt:lpstr>Verbessern Sie die Flexibilität des Flaschenprozesse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2</cp:revision>
  <dcterms:created xsi:type="dcterms:W3CDTF">2018-02-10T17:04:39Z</dcterms:created>
  <dcterms:modified xsi:type="dcterms:W3CDTF">2021-02-04T16:2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